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6" r:id="rId3"/>
  </p:sldMasterIdLst>
  <p:notesMasterIdLst>
    <p:notesMasterId r:id="rId5"/>
  </p:notesMasterIdLst>
  <p:sldIdLst>
    <p:sldId id="306" r:id="rId4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A600"/>
    <a:srgbClr val="710505"/>
    <a:srgbClr val="4C1F04"/>
    <a:srgbClr val="05BA05"/>
    <a:srgbClr val="006BF3"/>
    <a:srgbClr val="D910DE"/>
    <a:srgbClr val="037303"/>
    <a:srgbClr val="E81FED"/>
    <a:srgbClr val="0024BC"/>
    <a:srgbClr val="000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54" autoAdjust="0"/>
    <p:restoredTop sz="75047" autoAdjust="0"/>
  </p:normalViewPr>
  <p:slideViewPr>
    <p:cSldViewPr snapToGrid="0" snapToObjects="1">
      <p:cViewPr varScale="1">
        <p:scale>
          <a:sx n="75" d="100"/>
          <a:sy n="75" d="100"/>
        </p:scale>
        <p:origin x="1398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89D33F-2AA3-4838-AAA7-A6748EC4FF9E}" type="datetimeFigureOut">
              <a:rPr lang="en-US" smtClean="0"/>
              <a:t>11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F078DE-0EAB-43EC-B0D5-FB8279C2ECBF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249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24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824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673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14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300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924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77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894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881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9247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749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6338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9925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149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9087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241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6338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028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82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7740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48"/>
            <a:ext cx="8229600" cy="792162"/>
          </a:xfrm>
        </p:spPr>
        <p:txBody>
          <a:bodyPr>
            <a:normAutofit/>
          </a:bodyPr>
          <a:lstStyle>
            <a:lvl1pPr algn="l"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197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94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028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148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522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8243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6735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8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774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48"/>
            <a:ext cx="8229600" cy="792162"/>
          </a:xfrm>
        </p:spPr>
        <p:txBody>
          <a:bodyPr>
            <a:normAutofit/>
          </a:bodyPr>
          <a:lstStyle>
            <a:lvl1pPr algn="l"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19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94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14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522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84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D01C1-04BE-4996-AB3B-C87F51C2A1D7}" type="datetimeFigureOut">
              <a:rPr lang="en-US" smtClean="0"/>
              <a:t>11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90F8C-3D0D-4DB1-B2BD-1525EA5CE11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0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42BD59-33DC-4ED6-A055-CC017507EB7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03887-50C4-4BF5-92E6-BC00216F1C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84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hyperlink" Target="http://slidehunter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932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107"/>
          <p:cNvSpPr/>
          <p:nvPr/>
        </p:nvSpPr>
        <p:spPr>
          <a:xfrm>
            <a:off x="902923" y="2724945"/>
            <a:ext cx="4133046" cy="41330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270000" dist="38100" dir="8100000" algn="tr" rotWithShape="0">
              <a:prstClr val="black">
                <a:alpha val="40000"/>
              </a:prstClr>
            </a:outerShdw>
          </a:effectLst>
          <a:scene3d>
            <a:camera prst="isometricOffAxis2Top"/>
            <a:lightRig rig="freezing" dir="t">
              <a:rot lat="0" lon="0" rev="16200000"/>
            </a:lightRig>
          </a:scene3d>
          <a:sp3d prstMaterial="matte">
            <a:bevelT w="342900" h="723900" prst="angle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09" name="Rectangle 108"/>
          <p:cNvSpPr/>
          <p:nvPr/>
        </p:nvSpPr>
        <p:spPr>
          <a:xfrm>
            <a:off x="1351015" y="2233735"/>
            <a:ext cx="3214821" cy="321482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  <a:scene3d>
            <a:camera prst="isometricOffAxis2Top"/>
            <a:lightRig rig="freezing" dir="t">
              <a:rot lat="0" lon="0" rev="16200000"/>
            </a:lightRig>
          </a:scene3d>
          <a:sp3d prstMaterial="matte">
            <a:bevelT w="336550" h="723900" prst="angle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10" name="Rectangle 109"/>
          <p:cNvSpPr/>
          <p:nvPr/>
        </p:nvSpPr>
        <p:spPr>
          <a:xfrm>
            <a:off x="1799111" y="1742745"/>
            <a:ext cx="2296596" cy="22966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  <a:scene3d>
            <a:camera prst="isometricOffAxis2Top"/>
            <a:lightRig rig="freezing" dir="t">
              <a:rot lat="0" lon="0" rev="16200000"/>
            </a:lightRig>
          </a:scene3d>
          <a:sp3d prstMaterial="matte">
            <a:bevelT w="336550" h="723900" prst="angle"/>
            <a:contourClr>
              <a:srgbClr val="FFC000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11" name="Rectangle 110"/>
          <p:cNvSpPr/>
          <p:nvPr/>
        </p:nvSpPr>
        <p:spPr>
          <a:xfrm>
            <a:off x="2313259" y="1404397"/>
            <a:ext cx="1365075" cy="136507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  <a:scene3d>
            <a:camera prst="isometricOffAxis2Top"/>
            <a:lightRig rig="freezing" dir="t">
              <a:rot lat="0" lon="0" rev="16200000"/>
            </a:lightRig>
          </a:scene3d>
          <a:sp3d prstMaterial="matte">
            <a:bevelT w="254000" h="552450" prst="angle"/>
            <a:bevelB w="0" h="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 dirty="0"/>
          </a:p>
        </p:txBody>
      </p:sp>
      <p:sp>
        <p:nvSpPr>
          <p:cNvPr id="112" name="Rectangle 111"/>
          <p:cNvSpPr/>
          <p:nvPr/>
        </p:nvSpPr>
        <p:spPr>
          <a:xfrm>
            <a:off x="2636085" y="774424"/>
            <a:ext cx="693362" cy="69336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  <a:scene3d>
            <a:camera prst="isometricOffAxis2Top"/>
            <a:lightRig rig="freezing" dir="t">
              <a:rot lat="0" lon="0" rev="16200000"/>
            </a:lightRig>
          </a:scene3d>
          <a:sp3d prstMaterial="matte">
            <a:bevelT w="349250" h="774700" prst="angle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17" name="Title 1"/>
          <p:cNvSpPr txBox="1">
            <a:spLocks/>
          </p:cNvSpPr>
          <p:nvPr/>
        </p:nvSpPr>
        <p:spPr>
          <a:xfrm>
            <a:off x="287782" y="262693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"/>
            <a:r>
              <a:rPr lang="en-US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TRUCTURA DE CAPAS</a:t>
            </a:r>
            <a:endParaRPr lang="en-US" sz="32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18" name="Picture 117" descr="E:\websites\slidehunter\2012beew\psd\logo2012.pn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882" y="1026062"/>
            <a:ext cx="2045339" cy="592073"/>
          </a:xfrm>
          <a:prstGeom prst="rect">
            <a:avLst/>
          </a:prstGeom>
          <a:noFill/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Rectangle 123"/>
          <p:cNvSpPr/>
          <p:nvPr/>
        </p:nvSpPr>
        <p:spPr>
          <a:xfrm>
            <a:off x="5471213" y="693322"/>
            <a:ext cx="3544411" cy="71137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227013">
              <a:buFont typeface="Wingdings" pitchFamily="2" charset="2"/>
              <a:buChar char="§"/>
              <a:tabLst>
                <a:tab pos="566738" algn="l"/>
              </a:tabLst>
            </a:pPr>
            <a:endParaRPr lang="en-GB" sz="12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94" name="Group 193"/>
          <p:cNvGrpSpPr/>
          <p:nvPr/>
        </p:nvGrpSpPr>
        <p:grpSpPr>
          <a:xfrm>
            <a:off x="3329447" y="327562"/>
            <a:ext cx="5789153" cy="1140224"/>
            <a:chOff x="3329447" y="327562"/>
            <a:chExt cx="5789153" cy="1140224"/>
          </a:xfrm>
        </p:grpSpPr>
        <p:grpSp>
          <p:nvGrpSpPr>
            <p:cNvPr id="142" name="Group 141"/>
            <p:cNvGrpSpPr/>
            <p:nvPr/>
          </p:nvGrpSpPr>
          <p:grpSpPr>
            <a:xfrm>
              <a:off x="5471213" y="327562"/>
              <a:ext cx="3647387" cy="1083612"/>
              <a:chOff x="5471213" y="467262"/>
              <a:chExt cx="3647387" cy="1083612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5471213" y="467262"/>
                <a:ext cx="3647387" cy="365760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alanced" dir="t"/>
              </a:scene3d>
              <a:sp3d extrusionH="31750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b="1" dirty="0" smtClean="0">
                    <a:latin typeface="+mj-lt"/>
                  </a:rPr>
                  <a:t>CLIENTE</a:t>
                </a:r>
                <a:endParaRPr lang="en-GB" b="1" dirty="0">
                  <a:latin typeface="+mj-lt"/>
                </a:endParaRPr>
              </a:p>
            </p:txBody>
          </p:sp>
          <p:sp>
            <p:nvSpPr>
              <p:cNvPr id="125" name="Rounded Rectangle 124"/>
              <p:cNvSpPr/>
              <p:nvPr/>
            </p:nvSpPr>
            <p:spPr>
              <a:xfrm>
                <a:off x="5480564" y="840671"/>
                <a:ext cx="3535060" cy="710203"/>
              </a:xfrm>
              <a:prstGeom prst="roundRect">
                <a:avLst/>
              </a:prstGeom>
              <a:solidFill>
                <a:schemeClr val="bg1">
                  <a:lumMod val="85000"/>
                  <a:alpha val="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sz="1200" noProof="1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amet, consectetur  dipiscing elit. Fusce posuere, miuscipit suscipit, dolor  sollicituipem, a conse quat purus eratictum augue. Morbi at malesu orci. </a:t>
                </a:r>
              </a:p>
            </p:txBody>
          </p:sp>
        </p:grpSp>
        <p:cxnSp>
          <p:nvCxnSpPr>
            <p:cNvPr id="175" name="Elbow Connector 174"/>
            <p:cNvCxnSpPr/>
            <p:nvPr/>
          </p:nvCxnSpPr>
          <p:spPr>
            <a:xfrm rot="10800000" flipV="1">
              <a:off x="3329447" y="571500"/>
              <a:ext cx="2141766" cy="896286"/>
            </a:xfrm>
            <a:prstGeom prst="bentConnector3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3" name="Group 192"/>
          <p:cNvGrpSpPr/>
          <p:nvPr/>
        </p:nvGrpSpPr>
        <p:grpSpPr>
          <a:xfrm>
            <a:off x="3797300" y="1606626"/>
            <a:ext cx="5369925" cy="1135478"/>
            <a:chOff x="3797300" y="1606626"/>
            <a:chExt cx="5369925" cy="1135478"/>
          </a:xfrm>
          <a:solidFill>
            <a:schemeClr val="accent5">
              <a:lumMod val="60000"/>
              <a:lumOff val="40000"/>
            </a:schemeClr>
          </a:solidFill>
        </p:grpSpPr>
        <p:grpSp>
          <p:nvGrpSpPr>
            <p:cNvPr id="141" name="Group 140"/>
            <p:cNvGrpSpPr/>
            <p:nvPr/>
          </p:nvGrpSpPr>
          <p:grpSpPr>
            <a:xfrm>
              <a:off x="5697942" y="1606626"/>
              <a:ext cx="3469283" cy="1135478"/>
              <a:chOff x="5697942" y="1886026"/>
              <a:chExt cx="3469283" cy="1135478"/>
            </a:xfrm>
            <a:grpFill/>
          </p:grpSpPr>
          <p:sp>
            <p:nvSpPr>
              <p:cNvPr id="129" name="Rectangle 128"/>
              <p:cNvSpPr/>
              <p:nvPr/>
            </p:nvSpPr>
            <p:spPr>
              <a:xfrm>
                <a:off x="5752919" y="1886026"/>
                <a:ext cx="3414306" cy="365760"/>
              </a:xfrm>
              <a:prstGeom prst="rect">
                <a:avLst/>
              </a:prstGeom>
              <a:grpFill/>
              <a:ln>
                <a:noFill/>
              </a:ln>
              <a:effectLst/>
              <a:scene3d>
                <a:camera prst="orthographicFront"/>
                <a:lightRig rig="balanced" dir="t"/>
              </a:scene3d>
              <a:sp3d extrusionH="31750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b="1" dirty="0" smtClean="0">
                    <a:latin typeface="+mj-lt"/>
                  </a:rPr>
                  <a:t>INTERNET</a:t>
                </a:r>
                <a:endParaRPr lang="en-GB" b="1" dirty="0">
                  <a:latin typeface="+mj-lt"/>
                </a:endParaRPr>
              </a:p>
            </p:txBody>
          </p:sp>
          <p:grpSp>
            <p:nvGrpSpPr>
              <p:cNvPr id="136" name="Group 135"/>
              <p:cNvGrpSpPr/>
              <p:nvPr/>
            </p:nvGrpSpPr>
            <p:grpSpPr>
              <a:xfrm>
                <a:off x="5697942" y="2260826"/>
                <a:ext cx="3446785" cy="760678"/>
                <a:chOff x="5697942" y="2260826"/>
                <a:chExt cx="3446785" cy="760678"/>
              </a:xfrm>
              <a:grpFill/>
            </p:grpSpPr>
            <p:sp>
              <p:nvSpPr>
                <p:cNvPr id="126" name="Rectangle 125"/>
                <p:cNvSpPr/>
                <p:nvPr/>
              </p:nvSpPr>
              <p:spPr>
                <a:xfrm>
                  <a:off x="5704292" y="2260826"/>
                  <a:ext cx="3440435" cy="760678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42900" indent="-227013">
                    <a:buFont typeface="Wingdings" pitchFamily="2" charset="2"/>
                    <a:buChar char="§"/>
                    <a:tabLst>
                      <a:tab pos="566738" algn="l"/>
                    </a:tabLst>
                  </a:pPr>
                  <a:endParaRPr lang="en-GB"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30" name="Rounded Rectangle 129"/>
                <p:cNvSpPr/>
                <p:nvPr/>
              </p:nvSpPr>
              <p:spPr>
                <a:xfrm>
                  <a:off x="5697942" y="2296091"/>
                  <a:ext cx="3317681" cy="710203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GB" sz="1200" noProof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amet, consectetur  dipiscing elit. Fusce posuere, miuscipit suscipit, dolor  sollicituipem, a conse quat purus eratictum augue. Morbi at </a:t>
                  </a:r>
                  <a:r>
                    <a:rPr lang="en-GB" sz="1200" noProof="1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malesu</a:t>
                  </a:r>
                  <a:endParaRPr lang="en-GB" sz="1200" noProof="1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p:grpSp>
        </p:grpSp>
        <p:cxnSp>
          <p:nvCxnSpPr>
            <p:cNvPr id="176" name="Elbow Connector 175"/>
            <p:cNvCxnSpPr/>
            <p:nvPr/>
          </p:nvCxnSpPr>
          <p:spPr>
            <a:xfrm rot="10800000" flipV="1">
              <a:off x="3797300" y="1812495"/>
              <a:ext cx="1906994" cy="421240"/>
            </a:xfrm>
            <a:prstGeom prst="bentConnector3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2" name="Group 191"/>
          <p:cNvGrpSpPr/>
          <p:nvPr/>
        </p:nvGrpSpPr>
        <p:grpSpPr>
          <a:xfrm>
            <a:off x="4307476" y="2945365"/>
            <a:ext cx="4823825" cy="1089788"/>
            <a:chOff x="4343400" y="2907697"/>
            <a:chExt cx="4823825" cy="1089788"/>
          </a:xfrm>
        </p:grpSpPr>
        <p:grpSp>
          <p:nvGrpSpPr>
            <p:cNvPr id="140" name="Group 139"/>
            <p:cNvGrpSpPr/>
            <p:nvPr/>
          </p:nvGrpSpPr>
          <p:grpSpPr>
            <a:xfrm>
              <a:off x="5944506" y="2907697"/>
              <a:ext cx="3222719" cy="1089788"/>
              <a:chOff x="5944506" y="3390297"/>
              <a:chExt cx="3222719" cy="1089788"/>
            </a:xfrm>
          </p:grpSpPr>
          <p:sp>
            <p:nvSpPr>
              <p:cNvPr id="131" name="Rectangle 130"/>
              <p:cNvSpPr/>
              <p:nvPr/>
            </p:nvSpPr>
            <p:spPr>
              <a:xfrm>
                <a:off x="5948133" y="3390297"/>
                <a:ext cx="3205303" cy="365760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alanced" dir="t"/>
              </a:scene3d>
              <a:sp3d extrusionH="31750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b="1" dirty="0" smtClean="0">
                    <a:latin typeface="+mj-lt"/>
                  </a:rPr>
                  <a:t>JSON</a:t>
                </a:r>
                <a:endParaRPr lang="en-GB" b="1" dirty="0">
                  <a:latin typeface="+mj-lt"/>
                </a:endParaRPr>
              </a:p>
            </p:txBody>
          </p:sp>
          <p:grpSp>
            <p:nvGrpSpPr>
              <p:cNvPr id="137" name="Group 136"/>
              <p:cNvGrpSpPr/>
              <p:nvPr/>
            </p:nvGrpSpPr>
            <p:grpSpPr>
              <a:xfrm>
                <a:off x="5944506" y="3765017"/>
                <a:ext cx="3222719" cy="715068"/>
                <a:chOff x="5944506" y="3765017"/>
                <a:chExt cx="3222719" cy="715068"/>
              </a:xfrm>
            </p:grpSpPr>
            <p:sp>
              <p:nvSpPr>
                <p:cNvPr id="127" name="Rectangle 126"/>
                <p:cNvSpPr/>
                <p:nvPr/>
              </p:nvSpPr>
              <p:spPr>
                <a:xfrm>
                  <a:off x="5944506" y="3765017"/>
                  <a:ext cx="3222719" cy="71137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lumMod val="75000"/>
                      </a:schemeClr>
                    </a:gs>
                    <a:gs pos="50000">
                      <a:schemeClr val="bg1">
                        <a:lumMod val="75000"/>
                      </a:schemeClr>
                    </a:gs>
                    <a:gs pos="100000">
                      <a:schemeClr val="accent1">
                        <a:tint val="23500"/>
                        <a:satMod val="160000"/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42900" indent="-227013">
                    <a:buFont typeface="Wingdings" pitchFamily="2" charset="2"/>
                    <a:buChar char="§"/>
                    <a:tabLst>
                      <a:tab pos="566738" algn="l"/>
                    </a:tabLst>
                  </a:pPr>
                  <a:endParaRPr lang="en-GB"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32" name="Rounded Rectangle 131"/>
                <p:cNvSpPr/>
                <p:nvPr/>
              </p:nvSpPr>
              <p:spPr>
                <a:xfrm>
                  <a:off x="5948133" y="3769882"/>
                  <a:ext cx="3067490" cy="710203"/>
                </a:xfrm>
                <a:prstGeom prst="roundRect">
                  <a:avLst/>
                </a:prstGeom>
                <a:solidFill>
                  <a:schemeClr val="bg1">
                    <a:lumMod val="85000"/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GB" sz="1200" noProof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amet, consectetur  dipiscing elit. Fusce posuere, miuscipit suscipit, dolor  </a:t>
                  </a:r>
                  <a:r>
                    <a:rPr lang="en-GB" sz="1200" noProof="1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sollicim</a:t>
                  </a:r>
                  <a:r>
                    <a:rPr lang="en-GB" sz="1200" noProof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, a conse quat purus </a:t>
                  </a:r>
                  <a:r>
                    <a:rPr lang="en-GB" sz="1200" noProof="1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 augue</a:t>
                  </a:r>
                  <a:r>
                    <a:rPr lang="en-GB" sz="1200" noProof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. Morbi at </a:t>
                  </a:r>
                  <a:r>
                    <a:rPr lang="en-GB" sz="1200" noProof="1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malesu</a:t>
                  </a:r>
                  <a:endParaRPr lang="en-GB" sz="1200" noProof="1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p:grpSp>
        </p:grpSp>
        <p:cxnSp>
          <p:nvCxnSpPr>
            <p:cNvPr id="178" name="Elbow Connector 177"/>
            <p:cNvCxnSpPr/>
            <p:nvPr/>
          </p:nvCxnSpPr>
          <p:spPr>
            <a:xfrm rot="10800000" flipV="1">
              <a:off x="4343400" y="3089361"/>
              <a:ext cx="1588406" cy="1"/>
            </a:xfrm>
            <a:prstGeom prst="bentConnector3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1" name="Group 190"/>
          <p:cNvGrpSpPr/>
          <p:nvPr/>
        </p:nvGrpSpPr>
        <p:grpSpPr>
          <a:xfrm>
            <a:off x="4914901" y="3886201"/>
            <a:ext cx="4238535" cy="1396999"/>
            <a:chOff x="4914901" y="3886201"/>
            <a:chExt cx="4238535" cy="1396999"/>
          </a:xfrm>
        </p:grpSpPr>
        <p:grpSp>
          <p:nvGrpSpPr>
            <p:cNvPr id="139" name="Group 138"/>
            <p:cNvGrpSpPr/>
            <p:nvPr/>
          </p:nvGrpSpPr>
          <p:grpSpPr>
            <a:xfrm>
              <a:off x="6124347" y="4197533"/>
              <a:ext cx="3029089" cy="1085667"/>
              <a:chOff x="6124347" y="4819833"/>
              <a:chExt cx="3029089" cy="1085667"/>
            </a:xfrm>
          </p:grpSpPr>
          <p:sp>
            <p:nvSpPr>
              <p:cNvPr id="133" name="Rectangle 132"/>
              <p:cNvSpPr/>
              <p:nvPr/>
            </p:nvSpPr>
            <p:spPr>
              <a:xfrm>
                <a:off x="6124349" y="4819833"/>
                <a:ext cx="2994252" cy="365760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alanced" dir="t"/>
              </a:scene3d>
              <a:sp3d extrusionH="31750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b="1" dirty="0" smtClean="0">
                    <a:latin typeface="+mj-lt"/>
                  </a:rPr>
                  <a:t>WEB SERVER</a:t>
                </a:r>
                <a:endParaRPr lang="en-GB" b="1" dirty="0">
                  <a:latin typeface="+mj-lt"/>
                </a:endParaRPr>
              </a:p>
            </p:txBody>
          </p:sp>
          <p:grpSp>
            <p:nvGrpSpPr>
              <p:cNvPr id="138" name="Group 137"/>
              <p:cNvGrpSpPr/>
              <p:nvPr/>
            </p:nvGrpSpPr>
            <p:grpSpPr>
              <a:xfrm>
                <a:off x="6124347" y="5194125"/>
                <a:ext cx="3029089" cy="711375"/>
                <a:chOff x="6124347" y="5194125"/>
                <a:chExt cx="3029089" cy="711375"/>
              </a:xfrm>
            </p:grpSpPr>
            <p:sp>
              <p:nvSpPr>
                <p:cNvPr id="128" name="Rectangle 127"/>
                <p:cNvSpPr/>
                <p:nvPr/>
              </p:nvSpPr>
              <p:spPr>
                <a:xfrm>
                  <a:off x="6127260" y="5194125"/>
                  <a:ext cx="3026176" cy="71137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lumMod val="75000"/>
                      </a:schemeClr>
                    </a:gs>
                    <a:gs pos="50000">
                      <a:schemeClr val="bg1">
                        <a:lumMod val="75000"/>
                      </a:schemeClr>
                    </a:gs>
                    <a:gs pos="100000">
                      <a:schemeClr val="accent1">
                        <a:tint val="23500"/>
                        <a:satMod val="160000"/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42900" indent="-227013">
                    <a:buFont typeface="Wingdings" pitchFamily="2" charset="2"/>
                    <a:buChar char="§"/>
                    <a:tabLst>
                      <a:tab pos="566738" algn="l"/>
                    </a:tabLst>
                  </a:pPr>
                  <a:endParaRPr lang="en-GB"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34" name="Rounded Rectangle 133"/>
                <p:cNvSpPr/>
                <p:nvPr/>
              </p:nvSpPr>
              <p:spPr>
                <a:xfrm>
                  <a:off x="6124347" y="5199418"/>
                  <a:ext cx="2994253" cy="706082"/>
                </a:xfrm>
                <a:prstGeom prst="roundRect">
                  <a:avLst/>
                </a:prstGeom>
                <a:solidFill>
                  <a:schemeClr val="bg1">
                    <a:lumMod val="85000"/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GB" sz="1200" noProof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amet, consectetur  dipiscing elit. Fusce posuere, miuscipit suscipit, dolor  sollicituipem, a conse quat purus </a:t>
                  </a:r>
                  <a:r>
                    <a:rPr lang="en-GB" sz="1200" noProof="1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eratictum</a:t>
                  </a:r>
                  <a:endParaRPr lang="en-GB" sz="1200" noProof="1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p:grpSp>
        </p:grpSp>
        <p:cxnSp>
          <p:nvCxnSpPr>
            <p:cNvPr id="181" name="Elbow Connector 180"/>
            <p:cNvCxnSpPr/>
            <p:nvPr/>
          </p:nvCxnSpPr>
          <p:spPr>
            <a:xfrm rot="10800000">
              <a:off x="4914901" y="3886201"/>
              <a:ext cx="1209447" cy="498561"/>
            </a:xfrm>
            <a:prstGeom prst="bentConnector3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0" name="Group 189"/>
          <p:cNvGrpSpPr/>
          <p:nvPr/>
        </p:nvGrpSpPr>
        <p:grpSpPr>
          <a:xfrm>
            <a:off x="5626100" y="4927600"/>
            <a:ext cx="3742909" cy="1581230"/>
            <a:chOff x="5626100" y="4927600"/>
            <a:chExt cx="3742909" cy="1581230"/>
          </a:xfrm>
        </p:grpSpPr>
        <p:grpSp>
          <p:nvGrpSpPr>
            <p:cNvPr id="143" name="Group 142"/>
            <p:cNvGrpSpPr/>
            <p:nvPr/>
          </p:nvGrpSpPr>
          <p:grpSpPr>
            <a:xfrm>
              <a:off x="6339920" y="5423163"/>
              <a:ext cx="3029089" cy="1085667"/>
              <a:chOff x="6124347" y="4819833"/>
              <a:chExt cx="3029089" cy="1085667"/>
            </a:xfrm>
          </p:grpSpPr>
          <p:sp>
            <p:nvSpPr>
              <p:cNvPr id="144" name="Rectangle 143"/>
              <p:cNvSpPr/>
              <p:nvPr/>
            </p:nvSpPr>
            <p:spPr>
              <a:xfrm>
                <a:off x="6124349" y="4819833"/>
                <a:ext cx="2994252" cy="36576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alanced" dir="t"/>
              </a:scene3d>
              <a:sp3d extrusionH="317500"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GB" b="1" dirty="0" smtClean="0">
                    <a:latin typeface="+mj-lt"/>
                  </a:rPr>
                  <a:t>BASE DE DATOS</a:t>
                </a:r>
                <a:endParaRPr lang="en-GB" b="1" dirty="0">
                  <a:latin typeface="+mj-lt"/>
                </a:endParaRPr>
              </a:p>
            </p:txBody>
          </p:sp>
          <p:grpSp>
            <p:nvGrpSpPr>
              <p:cNvPr id="145" name="Group 144"/>
              <p:cNvGrpSpPr/>
              <p:nvPr/>
            </p:nvGrpSpPr>
            <p:grpSpPr>
              <a:xfrm>
                <a:off x="6124347" y="5194125"/>
                <a:ext cx="3029089" cy="711375"/>
                <a:chOff x="6124347" y="5194125"/>
                <a:chExt cx="3029089" cy="711375"/>
              </a:xfrm>
            </p:grpSpPr>
            <p:sp>
              <p:nvSpPr>
                <p:cNvPr id="146" name="Rectangle 145"/>
                <p:cNvSpPr/>
                <p:nvPr/>
              </p:nvSpPr>
              <p:spPr>
                <a:xfrm>
                  <a:off x="6127260" y="5194125"/>
                  <a:ext cx="3026176" cy="71137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bg1">
                        <a:lumMod val="75000"/>
                      </a:schemeClr>
                    </a:gs>
                    <a:gs pos="50000">
                      <a:schemeClr val="bg1">
                        <a:lumMod val="75000"/>
                      </a:schemeClr>
                    </a:gs>
                    <a:gs pos="100000">
                      <a:schemeClr val="accent1">
                        <a:tint val="23500"/>
                        <a:satMod val="160000"/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342900" indent="-227013">
                    <a:buFont typeface="Wingdings" pitchFamily="2" charset="2"/>
                    <a:buChar char="§"/>
                    <a:tabLst>
                      <a:tab pos="566738" algn="l"/>
                    </a:tabLst>
                  </a:pPr>
                  <a:endParaRPr lang="en-GB" sz="120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7" name="Rounded Rectangle 146"/>
                <p:cNvSpPr/>
                <p:nvPr/>
              </p:nvSpPr>
              <p:spPr>
                <a:xfrm>
                  <a:off x="6124347" y="5199418"/>
                  <a:ext cx="2994253" cy="706082"/>
                </a:xfrm>
                <a:prstGeom prst="roundRect">
                  <a:avLst/>
                </a:prstGeom>
                <a:solidFill>
                  <a:schemeClr val="bg1">
                    <a:lumMod val="85000"/>
                    <a:alpha val="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GB" sz="1200" noProof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amet, consectetur  dipiscing elit. Fusce posuere, miuscipit suscipit, dolor  sollicituipem, a conse quat purus </a:t>
                  </a:r>
                  <a:r>
                    <a:rPr lang="en-GB" sz="1200" noProof="1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eratictum</a:t>
                  </a:r>
                  <a:endParaRPr lang="en-GB" sz="1200" noProof="1">
                    <a:solidFill>
                      <a:schemeClr val="tx1">
                        <a:lumMod val="85000"/>
                        <a:lumOff val="15000"/>
                      </a:schemeClr>
                    </a:solidFill>
                  </a:endParaRPr>
                </a:p>
              </p:txBody>
            </p:sp>
          </p:grpSp>
        </p:grpSp>
        <p:cxnSp>
          <p:nvCxnSpPr>
            <p:cNvPr id="183" name="Elbow Connector 182"/>
            <p:cNvCxnSpPr/>
            <p:nvPr/>
          </p:nvCxnSpPr>
          <p:spPr>
            <a:xfrm rot="10800000">
              <a:off x="5626100" y="4927600"/>
              <a:ext cx="708319" cy="681344"/>
            </a:xfrm>
            <a:prstGeom prst="bentConnector3">
              <a:avLst>
                <a:gd name="adj1" fmla="val 55379"/>
              </a:avLst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6502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d94551e0931fdc8d62d2772c594e98222686928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hunter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018-3d-measuring-of-success-for-PowerPoi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alpha val="46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hunter.com</Template>
  <TotalTime>1963</TotalTime>
  <Words>127</Words>
  <Application>Microsoft Office PowerPoint</Application>
  <PresentationFormat>Presentación en pantalla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8" baseType="lpstr">
      <vt:lpstr>Arial</vt:lpstr>
      <vt:lpstr>Calibri</vt:lpstr>
      <vt:lpstr>Wingdings</vt:lpstr>
      <vt:lpstr>slidehunter.com</vt:lpstr>
      <vt:lpstr>4018-3d-measuring-of-success-for-PowerPoint</vt:lpstr>
      <vt:lpstr>2_Office Theme</vt:lpstr>
      <vt:lpstr>think-cell Slid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4021-3d-four-ways-for-business-man-silhoutte-powerpoint-slide</dc:title>
  <dc:creator>SlideHunter</dc:creator>
  <cp:lastModifiedBy>ITSY</cp:lastModifiedBy>
  <cp:revision>210</cp:revision>
  <dcterms:created xsi:type="dcterms:W3CDTF">2013-07-28T22:59:31Z</dcterms:created>
  <dcterms:modified xsi:type="dcterms:W3CDTF">2017-11-27T14:30:36Z</dcterms:modified>
</cp:coreProperties>
</file>